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9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1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4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5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6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7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8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9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20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21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22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2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24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25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26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7.xml" ContentType="application/vnd.openxmlformats-officedocument.theme+xml"/>
  <Override PartName="/ppt/theme/theme2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4"/>
    <p:sldMasterId id="2147483671" r:id="rId5"/>
    <p:sldMasterId id="2147483706" r:id="rId6"/>
    <p:sldMasterId id="2147483810" r:id="rId7"/>
    <p:sldMasterId id="2147483892" r:id="rId8"/>
    <p:sldMasterId id="2147484113" r:id="rId9"/>
    <p:sldMasterId id="2147484123" r:id="rId10"/>
    <p:sldMasterId id="2147484136" r:id="rId11"/>
    <p:sldMasterId id="2147484140" r:id="rId12"/>
    <p:sldMasterId id="2147484162" r:id="rId13"/>
    <p:sldMasterId id="2147484166" r:id="rId14"/>
    <p:sldMasterId id="2147484170" r:id="rId15"/>
    <p:sldMasterId id="2147484174" r:id="rId16"/>
    <p:sldMasterId id="2147484215" r:id="rId17"/>
    <p:sldMasterId id="2147484240" r:id="rId18"/>
    <p:sldMasterId id="2147484342" r:id="rId19"/>
    <p:sldMasterId id="2147484472" r:id="rId20"/>
    <p:sldMasterId id="2147484603" r:id="rId21"/>
    <p:sldMasterId id="2147484672" r:id="rId22"/>
    <p:sldMasterId id="2147484680" r:id="rId23"/>
    <p:sldMasterId id="2147484708" r:id="rId24"/>
    <p:sldMasterId id="2147484842" r:id="rId25"/>
    <p:sldMasterId id="2147484848" r:id="rId26"/>
    <p:sldMasterId id="2147484860" r:id="rId27"/>
    <p:sldMasterId id="2147484863" r:id="rId28"/>
    <p:sldMasterId id="2147484866" r:id="rId29"/>
  </p:sldMasterIdLst>
  <p:notesMasterIdLst>
    <p:notesMasterId r:id="rId44"/>
  </p:notesMasterIdLst>
  <p:handoutMasterIdLst>
    <p:handoutMasterId r:id="rId45"/>
  </p:handoutMasterIdLst>
  <p:sldIdLst>
    <p:sldId id="987" r:id="rId30"/>
    <p:sldId id="963" r:id="rId31"/>
    <p:sldId id="1003" r:id="rId32"/>
    <p:sldId id="1002" r:id="rId33"/>
    <p:sldId id="1004" r:id="rId34"/>
    <p:sldId id="1010" r:id="rId35"/>
    <p:sldId id="1012" r:id="rId36"/>
    <p:sldId id="1009" r:id="rId37"/>
    <p:sldId id="1008" r:id="rId38"/>
    <p:sldId id="1006" r:id="rId39"/>
    <p:sldId id="1007" r:id="rId40"/>
    <p:sldId id="1005" r:id="rId41"/>
    <p:sldId id="988" r:id="rId42"/>
    <p:sldId id="964" r:id="rId43"/>
  </p:sldIdLst>
  <p:sldSz cx="9144000" cy="6858000" type="screen4x3"/>
  <p:notesSz cx="7010400" cy="9296400"/>
  <p:custDataLst>
    <p:tags r:id="rId4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768">
          <p15:clr>
            <a:srgbClr val="A4A3A4"/>
          </p15:clr>
        </p15:guide>
        <p15:guide id="4" pos="43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epartment of Veterans Affairs" initials="DoV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F56"/>
    <a:srgbClr val="003D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7782" autoAdjust="0"/>
    <p:restoredTop sz="97749" autoAdjust="0"/>
  </p:normalViewPr>
  <p:slideViewPr>
    <p:cSldViewPr>
      <p:cViewPr varScale="1">
        <p:scale>
          <a:sx n="114" d="100"/>
          <a:sy n="114" d="100"/>
        </p:scale>
        <p:origin x="2214" y="108"/>
      </p:cViewPr>
      <p:guideLst>
        <p:guide orient="horz" pos="2160"/>
        <p:guide pos="2880"/>
        <p:guide orient="horz" pos="768"/>
        <p:guide pos="43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slide" Target="slides/slide10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5.xml"/><Relationship Id="rId42" Type="http://schemas.openxmlformats.org/officeDocument/2006/relationships/slide" Target="slides/slide13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" Target="slides/slide4.xml"/><Relationship Id="rId38" Type="http://schemas.openxmlformats.org/officeDocument/2006/relationships/slide" Target="slides/slide9.xml"/><Relationship Id="rId46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Master" Target="slideMasters/slideMaster26.xml"/><Relationship Id="rId41" Type="http://schemas.openxmlformats.org/officeDocument/2006/relationships/slide" Target="slides/slide1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" Target="slides/slide3.xml"/><Relationship Id="rId37" Type="http://schemas.openxmlformats.org/officeDocument/2006/relationships/slide" Target="slides/slide8.xml"/><Relationship Id="rId40" Type="http://schemas.openxmlformats.org/officeDocument/2006/relationships/slide" Target="slides/slide11.xml"/><Relationship Id="rId45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" Target="slides/slide7.xml"/><Relationship Id="rId49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2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" Target="slides/slide1.xml"/><Relationship Id="rId35" Type="http://schemas.openxmlformats.org/officeDocument/2006/relationships/slide" Target="slides/slide6.xml"/><Relationship Id="rId43" Type="http://schemas.openxmlformats.org/officeDocument/2006/relationships/slide" Target="slides/slide14.xml"/><Relationship Id="rId48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ACBC94-ED5A-4167-A18A-AC4F25ED66D4}" type="datetimeFigureOut">
              <a:rPr lang="en-US" smtClean="0"/>
              <a:t>4/2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1AE1E3-F2F8-47FD-A4F8-C33348A375A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3298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DE499EE-2D9F-4E82-8CEA-F4B67D4E6FEC}" type="datetimeFigureOut">
              <a:rPr lang="en-US" smtClean="0"/>
              <a:t>4/2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A6F7D25-770E-4F77-8331-8C84F68246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4695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0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1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3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4.bin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6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7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9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0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2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3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5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98001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811509"/>
            <a:ext cx="7772400" cy="1362075"/>
          </a:xfrm>
        </p:spPr>
        <p:txBody>
          <a:bodyPr anchor="t">
            <a:normAutofit/>
          </a:bodyPr>
          <a:lstStyle>
            <a:lvl1pPr algn="r">
              <a:defRPr sz="4500" b="1" cap="none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311324"/>
            <a:ext cx="7772400" cy="1500187"/>
          </a:xfrm>
        </p:spPr>
        <p:txBody>
          <a:bodyPr anchor="b">
            <a:normAutofit/>
          </a:bodyPr>
          <a:lstStyle>
            <a:lvl1pPr marL="0" indent="0" algn="r">
              <a:buNone/>
              <a:defRPr sz="2200" b="1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39028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314" y="6351678"/>
            <a:ext cx="3127375" cy="506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5641973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83293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2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2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59794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4763230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8" y="4803844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7068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8018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43125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5499147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3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042345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8877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4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2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6" y="4803730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6954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7903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06269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111802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5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291955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98487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30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49852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6212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18324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18324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3563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5091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9478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5596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4F4CDA76-67CD-4ECA-80A4-5F01EC28A7C6}" type="datetime4">
              <a:rPr lang="en-US" smtClean="0">
                <a:solidFill>
                  <a:srgbClr val="000000"/>
                </a:solidFill>
              </a:rPr>
              <a:pPr defTabSz="457200"/>
              <a:t>April 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55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Pre-Decisional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26565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43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43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E4DDB22A-FCD0-4CFA-8548-35060C70CA86}" type="datetime4">
              <a:rPr lang="en-US" smtClean="0">
                <a:solidFill>
                  <a:srgbClr val="000000"/>
                </a:solidFill>
              </a:rPr>
              <a:pPr defTabSz="457200"/>
              <a:t>April 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55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Pre-Decisional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42795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705948-9B46-49E9-90CC-5A61443486E7}" type="slidenum">
              <a:rPr lang="en-US" smtClean="0">
                <a:solidFill>
                  <a:prstClr val="white"/>
                </a:solidFill>
                <a:cs typeface="Arial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743200" y="6324705"/>
            <a:ext cx="3657600" cy="381001"/>
          </a:xfr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t>Pre-Decisional Deliberative Document - Internal VA Use Onl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1905000" cy="365125"/>
          </a:xfrm>
        </p:spPr>
        <p:txBody>
          <a:bodyPr lIns="91440" tIns="45720" rIns="91440" bIns="45720"/>
          <a:lstStyle/>
          <a:p>
            <a:pPr>
              <a:defRPr/>
            </a:pPr>
            <a:fld id="{6EF4A7D3-2E4B-4872-9C5A-C8BA78F30933}" type="datetime4">
              <a:rPr lang="en-US" smtClean="0">
                <a:solidFill>
                  <a:srgbClr val="000000"/>
                </a:solidFill>
                <a:cs typeface="Arial" pitchFamily="34" charset="0"/>
              </a:rPr>
              <a:pPr>
                <a:defRPr/>
              </a:pPr>
              <a:t>April 2, 2018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846362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 userDrawn="1"/>
        </p:nvSpPr>
        <p:spPr bwMode="auto">
          <a:xfrm>
            <a:off x="685800" y="2133600"/>
            <a:ext cx="7772400" cy="101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3200" b="1" dirty="0">
                <a:solidFill>
                  <a:prstClr val="black"/>
                </a:solidFill>
                <a:cs typeface="Arial" charset="0"/>
              </a:rPr>
              <a:t>Office of Management</a:t>
            </a:r>
          </a:p>
        </p:txBody>
      </p:sp>
      <p:pic>
        <p:nvPicPr>
          <p:cNvPr id="5" name="Picture 1" descr="VA Seal - black and 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125" y="323850"/>
            <a:ext cx="1809750" cy="180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124200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602144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B76D34-F326-4FA6-B1B5-72D273B94AC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/2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Working Draft, Information Only, Decision Making-No Funding Impact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2D883F-F377-43E7-B860-1E2309A812AF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22487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VA Seal - black and 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43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7BB5AA-D668-4F7C-AF84-D5B2EA8ABF1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/2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Working Draft, Information Only, Decision Making-No Funding Impact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06D38C-E1C0-445F-9569-AD3D1FC355B8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32477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0"/>
            <a:ext cx="7239000" cy="106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22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4AA5FB-16F3-4C01-95E7-4AD9A292D31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/2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Working Draft, Information Only, Decision Making-No Funding Impa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7F1F5F-EE0C-4E2A-9281-CF21BD869876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90195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0"/>
            <a:ext cx="7315200" cy="106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B7949D-538B-4F4F-8BC9-7D75C718A4C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/2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Working Draft, Information Only, Decision Making-No Funding Impac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6AD94E-2317-47B6-8334-A702A505FF72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29314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1535206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2174879"/>
            <a:ext cx="4040188" cy="3587577"/>
          </a:xfrm>
        </p:spPr>
        <p:txBody>
          <a:bodyPr/>
          <a:lstStyle>
            <a:lvl1pPr>
              <a:defRPr sz="2400" b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535206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2174879"/>
            <a:ext cx="4041775" cy="3587577"/>
          </a:xfrm>
        </p:spPr>
        <p:txBody>
          <a:bodyPr/>
          <a:lstStyle>
            <a:lvl1pPr>
              <a:defRPr sz="2400" b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77602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0"/>
            <a:ext cx="7315200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8EE2FA-8E37-4415-A27D-3447A091616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/2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>
                <a:solidFill>
                  <a:prstClr val="black">
                    <a:tint val="75000"/>
                  </a:prstClr>
                </a:solidFill>
              </a:rPr>
              <a:t>Working Draft, Infromation Onlyl, Decision Making-No Funding Impact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B6E0A4-A0AF-4851-AC22-0AB169EE6C2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76192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6972682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5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8" y="4803844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7068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8018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21531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4216906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652265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2400410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9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8" y="4803844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7068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8018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56169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3395894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9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946504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1461038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8" y="4803844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7068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8018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45799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014020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214521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4615293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8" y="4803844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7068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8018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66509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5509509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16942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4204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7710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0"/>
            <a:ext cx="5111751" cy="547890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2"/>
            <a:ext cx="3008313" cy="431685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2698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2"/>
            <a:ext cx="5486400" cy="50007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286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3"/>
            <a:ext cx="8229600" cy="412026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4520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2"/>
            <a:ext cx="2057400" cy="549831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2"/>
            <a:ext cx="6019800" cy="5498311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895" y="648239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92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2716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353167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067" y="163513"/>
            <a:ext cx="8274051" cy="667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4973" y="1184460"/>
            <a:ext cx="8275320" cy="4066903"/>
          </a:xfrm>
          <a:prstGeom prst="rect">
            <a:avLst/>
          </a:prstGeom>
        </p:spPr>
        <p:txBody>
          <a:bodyPr/>
          <a:lstStyle>
            <a:lvl1pPr marL="236538" indent="-236538">
              <a:buClr>
                <a:schemeClr val="tx2"/>
              </a:buClr>
              <a:buFont typeface="Arial" pitchFamily="34" charset="0"/>
              <a:buChar char="•"/>
              <a:defRPr/>
            </a:lvl1pPr>
            <a:lvl2pPr marL="457200" indent="-220663">
              <a:buFont typeface="Arial" pitchFamily="34" charset="0"/>
              <a:buChar char="-"/>
              <a:defRPr/>
            </a:lvl2pPr>
            <a:lvl3pPr marL="900113" indent="-203200">
              <a:defRPr/>
            </a:lvl3pPr>
            <a:lvl4pPr marL="1368425" indent="-217488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3934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736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122890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067" y="163513"/>
            <a:ext cx="8274051" cy="667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33753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ollage of military and finance images" title="FMTS Splash Sheet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7461"/>
            <a:ext cx="9144000" cy="391058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22" y="102188"/>
            <a:ext cx="2748144" cy="13740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820296"/>
            <a:ext cx="7772400" cy="792473"/>
          </a:xfrm>
        </p:spPr>
        <p:txBody>
          <a:bodyPr anchor="t" anchorCtr="0">
            <a:normAutofit/>
          </a:bodyPr>
          <a:lstStyle>
            <a:lvl1pPr algn="ctr">
              <a:defRPr sz="3600">
                <a:solidFill>
                  <a:srgbClr val="2B399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5612769"/>
            <a:ext cx="6858000" cy="474663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rgbClr val="00206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 descr="VA Official Seal" title="VA Sea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05764" y="5936465"/>
            <a:ext cx="758475" cy="768096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5324322" y="6177047"/>
            <a:ext cx="2911374" cy="430887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r"/>
            <a:r>
              <a:rPr lang="en-US" sz="1100" b="1" dirty="0">
                <a:solidFill>
                  <a:prstClr val="black"/>
                </a:solidFill>
              </a:rPr>
              <a:t>Department of Veterans Affairs </a:t>
            </a:r>
          </a:p>
          <a:p>
            <a:pPr algn="r"/>
            <a:r>
              <a:rPr lang="en-US" sz="1100" b="1" dirty="0">
                <a:solidFill>
                  <a:prstClr val="black"/>
                </a:solidFill>
              </a:rPr>
              <a:t>Office of Financial Business Operations (OFBO)</a:t>
            </a:r>
          </a:p>
        </p:txBody>
      </p:sp>
    </p:spTree>
    <p:extLst>
      <p:ext uri="{BB962C8B-B14F-4D97-AF65-F5344CB8AC3E}">
        <p14:creationId xmlns:p14="http://schemas.microsoft.com/office/powerpoint/2010/main" val="39587939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2530D-ACA1-4634-B164-52F5894E2BD3}" type="datetime4">
              <a:rPr lang="en-US" smtClean="0"/>
              <a:pPr/>
              <a:t>April 2, 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34765346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0" y="1365102"/>
            <a:ext cx="7886700" cy="2852737"/>
          </a:xfrm>
        </p:spPr>
        <p:txBody>
          <a:bodyPr anchor="b"/>
          <a:lstStyle>
            <a:lvl1pPr>
              <a:defRPr sz="6000">
                <a:solidFill>
                  <a:srgbClr val="2A3B9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0" y="4389442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3EF942-E61C-4CED-89E6-91939CBCCC48}" type="datetime4">
              <a:rPr lang="en-US" smtClean="0"/>
              <a:pPr/>
              <a:t>April 2, 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38328483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447632"/>
            <a:ext cx="38862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447632"/>
            <a:ext cx="38862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F6EC7B-0AC5-480E-8CDB-0D2799245CFB}" type="datetime4">
              <a:rPr lang="en-US" smtClean="0"/>
              <a:pPr/>
              <a:t>April 2, 2018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7344854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369050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192962"/>
            <a:ext cx="3868340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246" y="1369050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246" y="2192962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FD06BE-CE1B-447D-951A-56D5467CB80A}" type="datetime4">
              <a:rPr lang="en-US" smtClean="0"/>
              <a:pPr/>
              <a:t>April 2, 2018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6403885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00370-FE74-4E2F-9E25-F8175EAC3DBB}" type="datetime4">
              <a:rPr lang="en-US" smtClean="0"/>
              <a:pPr/>
              <a:t>April 2, 2018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3186595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60E1D5-0FE3-4306-A94D-F919408ED7BC}" type="datetime4">
              <a:rPr lang="en-US" smtClean="0"/>
              <a:pPr/>
              <a:t>April 2, 20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4202599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340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0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2307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2457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5698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9899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3429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2127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8543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52489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5022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0811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171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5855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>
                <a:solidFill>
                  <a:srgbClr val="000000"/>
                </a:solidFill>
              </a:rPr>
              <a:t>Working Draft, Pre-Decisional,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9179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>
                <a:solidFill>
                  <a:srgbClr val="000000"/>
                </a:solidFill>
              </a:rPr>
              <a:t>Working Draft, Pre-Decisional,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0933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0" y="3048000"/>
            <a:ext cx="7239000" cy="6096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6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90600" y="4648200"/>
            <a:ext cx="3124200" cy="6096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XX/XX/XXXX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990600" y="2122842"/>
            <a:ext cx="7239000" cy="91440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>
              <a:buNone/>
              <a:defRPr sz="3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lick to add Title</a:t>
            </a:r>
            <a:endParaRPr lang="en-US"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13683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896923" y="218244"/>
            <a:ext cx="5715000" cy="40011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en-US" sz="2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6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01069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96922" y="129468"/>
            <a:ext cx="7827979" cy="6096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2000" b="1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add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914400"/>
            <a:ext cx="8305800" cy="5334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200" i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traplin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19100" y="1524000"/>
            <a:ext cx="8305800" cy="4724400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30899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96922" y="129468"/>
            <a:ext cx="7827979" cy="6096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2000" b="1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add tit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914400"/>
            <a:ext cx="8305800" cy="5334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200" i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trapline</a:t>
            </a:r>
          </a:p>
        </p:txBody>
      </p:sp>
      <p:sp>
        <p:nvSpPr>
          <p:cNvPr id="8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995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3" y="1897603"/>
            <a:ext cx="4628956" cy="8424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3237563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5760" y="1611315"/>
            <a:ext cx="8412480" cy="4734292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3670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5"/>
            <a:ext cx="8412480" cy="4734292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899500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41691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7806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713"/>
            <a:ext cx="8412480" cy="757255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1861305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30745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39734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924254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1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2732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6675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61167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09836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77914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30138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4337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82399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6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062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>
                <a:solidFill>
                  <a:srgbClr val="000000"/>
                </a:solidFill>
              </a:rPr>
              <a:t>Working Draft, Pre-Decisional,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95798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62072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97226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3508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0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505857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056700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5923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203672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1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02873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504841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5993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96314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1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7283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27842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>
                <a:solidFill>
                  <a:srgbClr val="000000"/>
                </a:solidFill>
              </a:rPr>
              <a:t>Working Draft, Pre-Decisional,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36153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78881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313776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2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86794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116937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22122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192013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9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53422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21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2462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58712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26577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6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6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6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94867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14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030752"/>
            <a:ext cx="7772400" cy="837669"/>
          </a:xfrm>
        </p:spPr>
        <p:txBody>
          <a:bodyPr>
            <a:normAutofit/>
          </a:bodyPr>
          <a:lstStyle>
            <a:lvl1pPr algn="ctr">
              <a:defRPr sz="45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1878828"/>
            <a:ext cx="6400800" cy="564220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497543" y="2970451"/>
            <a:ext cx="6400800" cy="51296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fontAlgn="base">
              <a:defRPr/>
            </a:pPr>
            <a:r>
              <a:rPr lang="en-US" sz="2000" b="1" baseline="30000" dirty="0">
                <a:solidFill>
                  <a:srgbClr val="0093C9"/>
                </a:solidFill>
                <a:cs typeface="Calibri"/>
              </a:rPr>
              <a:t>Presented by the MyVA Direct Scheduling Implementation Team </a:t>
            </a:r>
          </a:p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1266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8FD8308C-6DE1-4A08-B5A9-0627C0E25B9B}" type="datetime1">
              <a:rPr lang="en-US" smtClean="0">
                <a:solidFill>
                  <a:srgbClr val="000000"/>
                </a:solidFill>
              </a:rPr>
              <a:pPr defTabSz="457200"/>
              <a:t>4/2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6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75520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4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4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61942082-868F-4451-8F0E-4210CE0E2B16}" type="datetime1">
              <a:rPr lang="en-US" smtClean="0">
                <a:solidFill>
                  <a:srgbClr val="000000"/>
                </a:solidFill>
              </a:rPr>
              <a:pPr defTabSz="457200"/>
              <a:t>4/2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6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20916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732744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81910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5199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23272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460222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91230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052368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2770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3"/>
            <a:ext cx="8229600" cy="41622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4767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76690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85141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115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90574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4F4CDA76-67CD-4ECA-80A4-5F01EC28A7C6}" type="datetime4">
              <a:rPr lang="en-US" smtClean="0">
                <a:solidFill>
                  <a:srgbClr val="000000"/>
                </a:solidFill>
              </a:rPr>
              <a:pPr defTabSz="457200"/>
              <a:t>April 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1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Pre-Decisional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99426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2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2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E4DDB22A-FCD0-4CFA-8548-35060C70CA86}" type="datetime4">
              <a:rPr lang="en-US" smtClean="0">
                <a:solidFill>
                  <a:srgbClr val="000000"/>
                </a:solidFill>
              </a:rPr>
              <a:pPr defTabSz="457200"/>
              <a:t>April 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1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Pre-Decisional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802155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187902008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324205894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64500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1749668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2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ags" Target="../tags/tag10.xml"/><Relationship Id="rId5" Type="http://schemas.openxmlformats.org/officeDocument/2006/relationships/vmlDrawing" Target="../drawings/vmlDrawing9.vml"/><Relationship Id="rId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5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tags" Target="../tags/tag12.xml"/><Relationship Id="rId5" Type="http://schemas.openxmlformats.org/officeDocument/2006/relationships/vmlDrawing" Target="../drawings/vmlDrawing11.vml"/><Relationship Id="rId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8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tags" Target="../tags/tag14.xml"/><Relationship Id="rId5" Type="http://schemas.openxmlformats.org/officeDocument/2006/relationships/vmlDrawing" Target="../drawings/vmlDrawing13.vml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71.xml"/><Relationship Id="rId7" Type="http://schemas.openxmlformats.org/officeDocument/2006/relationships/oleObject" Target="../embeddings/oleObject15.bin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tags" Target="../tags/tag16.xml"/><Relationship Id="rId5" Type="http://schemas.openxmlformats.org/officeDocument/2006/relationships/vmlDrawing" Target="../drawings/vmlDrawing15.vml"/><Relationship Id="rId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18.xml"/><Relationship Id="rId5" Type="http://schemas.openxmlformats.org/officeDocument/2006/relationships/vmlDrawing" Target="../drawings/vmlDrawing17.vml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heme" Target="../theme/theme15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8.xml"/><Relationship Id="rId9" Type="http://schemas.openxmlformats.org/officeDocument/2006/relationships/image" Target="../media/image1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heme" Target="../theme/theme16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5.xml"/><Relationship Id="rId9" Type="http://schemas.openxmlformats.org/officeDocument/2006/relationships/image" Target="../media/image1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heme" Target="../theme/theme17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5" Type="http://schemas.openxmlformats.org/officeDocument/2006/relationships/slideLayout" Target="../slideLayouts/slideLayout93.xml"/><Relationship Id="rId4" Type="http://schemas.openxmlformats.org/officeDocument/2006/relationships/slideLayout" Target="../slideLayouts/slideLayout92.xml"/><Relationship Id="rId9" Type="http://schemas.openxmlformats.org/officeDocument/2006/relationships/image" Target="../media/image1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heme" Target="../theme/theme18.x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9.xml"/><Relationship Id="rId9" Type="http://schemas.openxmlformats.org/officeDocument/2006/relationships/image" Target="../media/image1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19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oleObject" Target="../embeddings/oleObject19.bin"/><Relationship Id="rId5" Type="http://schemas.openxmlformats.org/officeDocument/2006/relationships/tags" Target="../tags/tag20.xml"/><Relationship Id="rId4" Type="http://schemas.openxmlformats.org/officeDocument/2006/relationships/vmlDrawing" Target="../drawings/vmlDrawing19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Layout" Target="../slideLayouts/slideLayout107.xml"/><Relationship Id="rId7" Type="http://schemas.openxmlformats.org/officeDocument/2006/relationships/oleObject" Target="../embeddings/oleObject22.bin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tags" Target="../tags/tag23.xml"/><Relationship Id="rId5" Type="http://schemas.openxmlformats.org/officeDocument/2006/relationships/vmlDrawing" Target="../drawings/vmlDrawing22.vml"/><Relationship Id="rId4" Type="http://schemas.openxmlformats.org/officeDocument/2006/relationships/theme" Target="../theme/theme20.xml"/><Relationship Id="rId9" Type="http://schemas.openxmlformats.org/officeDocument/2006/relationships/image" Target="../media/image1.pn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12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11.xml"/><Relationship Id="rId9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8.xml"/><Relationship Id="rId7" Type="http://schemas.openxmlformats.org/officeDocument/2006/relationships/image" Target="../media/image18.jpeg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Relationship Id="rId6" Type="http://schemas.openxmlformats.org/officeDocument/2006/relationships/theme" Target="../theme/theme22.xml"/><Relationship Id="rId5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9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23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oleObject" Target="../embeddings/oleObject25.bin"/><Relationship Id="rId5" Type="http://schemas.openxmlformats.org/officeDocument/2006/relationships/tags" Target="../tags/tag26.xml"/><Relationship Id="rId4" Type="http://schemas.openxmlformats.org/officeDocument/2006/relationships/vmlDrawing" Target="../drawings/vmlDrawing25.v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24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oleObject" Target="../embeddings/oleObject28.bin"/><Relationship Id="rId5" Type="http://schemas.openxmlformats.org/officeDocument/2006/relationships/tags" Target="../tags/tag29.xml"/><Relationship Id="rId4" Type="http://schemas.openxmlformats.org/officeDocument/2006/relationships/vmlDrawing" Target="../drawings/vmlDrawing28.v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25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oleObject" Target="../embeddings/oleObject31.bin"/><Relationship Id="rId5" Type="http://schemas.openxmlformats.org/officeDocument/2006/relationships/tags" Target="../tags/tag32.xml"/><Relationship Id="rId4" Type="http://schemas.openxmlformats.org/officeDocument/2006/relationships/vmlDrawing" Target="../drawings/vmlDrawing31.v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26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27.xml"/><Relationship Id="rId6" Type="http://schemas.openxmlformats.org/officeDocument/2006/relationships/oleObject" Target="../embeddings/oleObject34.bin"/><Relationship Id="rId5" Type="http://schemas.openxmlformats.org/officeDocument/2006/relationships/tags" Target="../tags/tag35.xml"/><Relationship Id="rId4" Type="http://schemas.openxmlformats.org/officeDocument/2006/relationships/vmlDrawing" Target="../drawings/vmlDrawing34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25.xml"/><Relationship Id="rId10" Type="http://schemas.openxmlformats.org/officeDocument/2006/relationships/image" Target="../media/image6.jpe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5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image" Target="../media/image11.jpeg"/><Relationship Id="rId5" Type="http://schemas.openxmlformats.org/officeDocument/2006/relationships/slideLayout" Target="../slideLayouts/slideLayout46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3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tags" Target="../tags/tag4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7.xml"/><Relationship Id="rId9" Type="http://schemas.openxmlformats.org/officeDocument/2006/relationships/image" Target="../media/image12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6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8.xml"/><Relationship Id="rId9" Type="http://schemas.openxmlformats.org/officeDocument/2006/relationships/image" Target="../media/image12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9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tags" Target="../tags/tag8.xml"/><Relationship Id="rId5" Type="http://schemas.openxmlformats.org/officeDocument/2006/relationships/vmlDrawing" Target="../drawings/vmlDrawing7.vml"/><Relationship Id="rId4" Type="http://schemas.openxmlformats.org/officeDocument/2006/relationships/theme" Target="../theme/theme9.xml"/><Relationship Id="rId9" Type="http://schemas.openxmlformats.org/officeDocument/2006/relationships/image" Target="../media/image1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0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500"/>
            <a:ext cx="2209800" cy="4919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508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5201756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7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653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3" r:id="rId1"/>
    <p:sldLayoutId id="2147484164" r:id="rId2"/>
    <p:sldLayoutId id="2147484165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5608199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12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467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168" r:id="rId2"/>
    <p:sldLayoutId id="214748416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112737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17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644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1" r:id="rId1"/>
    <p:sldLayoutId id="2147484172" r:id="rId2"/>
    <p:sldLayoutId id="214748417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7325115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21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313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460386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87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810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6" r:id="rId1"/>
    <p:sldLayoutId id="2147484217" r:id="rId2"/>
    <p:sldLayoutId id="2147484218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407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692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3" r:id="rId1"/>
    <p:sldLayoutId id="2147484344" r:id="rId2"/>
    <p:sldLayoutId id="2147484345" r:id="rId3"/>
    <p:sldLayoutId id="2147484346" r:id="rId4"/>
    <p:sldLayoutId id="2147484347" r:id="rId5"/>
    <p:sldLayoutId id="2147484348" r:id="rId6"/>
    <p:sldLayoutId id="2147484349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896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3" r:id="rId1"/>
    <p:sldLayoutId id="2147484474" r:id="rId2"/>
    <p:sldLayoutId id="2147484475" r:id="rId3"/>
    <p:sldLayoutId id="2147484476" r:id="rId4"/>
    <p:sldLayoutId id="2147484477" r:id="rId5"/>
    <p:sldLayoutId id="2147484478" r:id="rId6"/>
    <p:sldLayoutId id="2147484479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781389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4" r:id="rId1"/>
    <p:sldLayoutId id="2147484605" r:id="rId2"/>
    <p:sldLayoutId id="2147484606" r:id="rId3"/>
    <p:sldLayoutId id="2147484607" r:id="rId4"/>
    <p:sldLayoutId id="2147484608" r:id="rId5"/>
    <p:sldLayoutId id="2147484609" r:id="rId6"/>
    <p:sldLayoutId id="2147484610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78679029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32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796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24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3" r:id="rId1"/>
    <p:sldLayoutId id="2147484674" r:id="rId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3"/>
            <a:ext cx="8229600" cy="42042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05200" y="615914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pPr fontAlgn="base"/>
            <a:fld id="{66EDCA28-4542-3047-9F73-5111907E2BA5}" type="slidenum">
              <a:rPr lang="en-US" smtClean="0"/>
              <a:pPr fontAlgn="base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23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4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817435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45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80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628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1" r:id="rId1"/>
    <p:sldLayoutId id="2147484682" r:id="rId2"/>
    <p:sldLayoutId id="2147484683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7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12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9" r:id="rId1"/>
    <p:sldLayoutId id="2147484710" r:id="rId2"/>
    <p:sldLayoutId id="2147484711" r:id="rId3"/>
    <p:sldLayoutId id="2147484712" r:id="rId4"/>
    <p:sldLayoutId id="2147484713" r:id="rId5"/>
    <p:sldLayoutId id="2147484714" r:id="rId6"/>
    <p:sldLayoutId id="2147484715" r:id="rId7"/>
    <p:sldLayoutId id="2147484716" r:id="rId8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219200" y="0"/>
            <a:ext cx="731520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8229600" cy="490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65CC441-5531-4747-B0C6-44C69B6012CE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/2/2018</a:t>
            </a:fld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40075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  <a:latin typeface="Arial" charset="0"/>
              </a:rPr>
              <a:t>Working Draft, Information Only, Decision Making-No Funding Impa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2261106-B97F-4C78-AE00-CBE6C8622962}" type="slidenum">
              <a:rPr lang="en-US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pic>
        <p:nvPicPr>
          <p:cNvPr id="1031" name="Picture 1" descr="VA Seal - black and whit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43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Box 6"/>
          <p:cNvSpPr txBox="1">
            <a:spLocks noChangeArrowheads="1"/>
          </p:cNvSpPr>
          <p:nvPr/>
        </p:nvSpPr>
        <p:spPr bwMode="auto">
          <a:xfrm rot="5400000">
            <a:off x="5897563" y="3157538"/>
            <a:ext cx="58832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dirty="0">
                <a:solidFill>
                  <a:srgbClr val="D9D9D9"/>
                </a:solidFill>
                <a:cs typeface="Arial" charset="0"/>
              </a:rPr>
              <a:t>Working Draft  VA Internal Use Only</a:t>
            </a:r>
          </a:p>
        </p:txBody>
      </p:sp>
      <p:sp>
        <p:nvSpPr>
          <p:cNvPr id="1033" name="TextBox 9"/>
          <p:cNvSpPr txBox="1">
            <a:spLocks noChangeArrowheads="1"/>
          </p:cNvSpPr>
          <p:nvPr/>
        </p:nvSpPr>
        <p:spPr bwMode="auto">
          <a:xfrm rot="-1768302">
            <a:off x="134938" y="3455988"/>
            <a:ext cx="867251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000" dirty="0">
                <a:solidFill>
                  <a:srgbClr val="D9D9D9"/>
                </a:solidFill>
                <a:cs typeface="Arial" charset="0"/>
              </a:rPr>
              <a:t>Working Draft, Information Only, Decision Making –VA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798913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3" r:id="rId1"/>
    <p:sldLayoutId id="2147484844" r:id="rId2"/>
    <p:sldLayoutId id="2147484845" r:id="rId3"/>
    <p:sldLayoutId id="2147484846" r:id="rId4"/>
    <p:sldLayoutId id="2147484847" r:id="rId5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50571291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50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796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302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9" r:id="rId1"/>
    <p:sldLayoutId id="2147484850" r:id="rId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74825108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87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796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12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1" r:id="rId1"/>
    <p:sldLayoutId id="2147484862" r:id="rId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96483353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3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796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762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4" r:id="rId1"/>
    <p:sldLayoutId id="2147484865" r:id="rId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35310237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0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796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029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7" r:id="rId1"/>
    <p:sldLayoutId id="2147484868" r:id="rId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472" b="1"/>
          <a:stretch/>
        </p:blipFill>
        <p:spPr>
          <a:xfrm>
            <a:off x="0" y="6383433"/>
            <a:ext cx="9144000" cy="47466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143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807" y="1330954"/>
            <a:ext cx="7886700" cy="47175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88807" y="646137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D9B61AED-C919-4E53-BB61-F5C4CD500E63}" type="datetime4">
              <a:rPr lang="en-US" smtClean="0"/>
              <a:pPr/>
              <a:t>April 2, 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97793" y="646137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19050">
            <a:solidFill>
              <a:srgbClr val="2B39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0" y="1144905"/>
            <a:ext cx="9144000" cy="0"/>
          </a:xfrm>
          <a:prstGeom prst="line">
            <a:avLst/>
          </a:prstGeom>
          <a:ln w="19050">
            <a:solidFill>
              <a:srgbClr val="2B39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925" y="125151"/>
            <a:ext cx="18288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510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2B399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Calibri" panose="020F0502020204030204" pitchFamily="34" charset="0"/>
        <a:buChar char="̶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Ø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80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610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646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8025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115" r:id="rId2"/>
    <p:sldLayoutId id="2147484116" r:id="rId3"/>
    <p:sldLayoutId id="2147484117" r:id="rId4"/>
    <p:sldLayoutId id="2147484118" r:id="rId5"/>
    <p:sldLayoutId id="2147484119" r:id="rId6"/>
    <p:sldLayoutId id="2147484120" r:id="rId7"/>
    <p:sldLayoutId id="2147484121" r:id="rId8"/>
    <p:sldLayoutId id="2147484122" r:id="rId9"/>
  </p:sldLayoutIdLst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8682200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17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2186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  <p:sldLayoutId id="2147484125" r:id="rId2"/>
    <p:sldLayoutId id="2147484126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5600965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7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9819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969626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2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992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1" r:id="rId1"/>
    <p:sldLayoutId id="2147484142" r:id="rId2"/>
    <p:sldLayoutId id="214748414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990600" y="1759565"/>
            <a:ext cx="7162800" cy="2431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dirty="0">
                <a:solidFill>
                  <a:prstClr val="black"/>
                </a:solidFill>
                <a:latin typeface="Arial"/>
                <a:ea typeface="MS ????"/>
              </a:rPr>
              <a:t>Integrated Disability Evaluation System (IDES)</a:t>
            </a:r>
            <a:endParaRPr lang="en-US" sz="320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pPr marL="274320" indent="-274320" algn="ctr">
              <a:tabLst>
                <a:tab pos="342265" algn="l"/>
                <a:tab pos="3257550" algn="ctr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</a:tabLst>
            </a:pPr>
            <a:r>
              <a:rPr lang="en-US" sz="3200" dirty="0">
                <a:solidFill>
                  <a:prstClr val="black"/>
                </a:solidFill>
                <a:latin typeface="Arial"/>
                <a:ea typeface="MS ????"/>
              </a:rPr>
              <a:t>Conference Call</a:t>
            </a:r>
            <a:endParaRPr lang="en-US" sz="320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pPr marL="274320" indent="-274320" algn="ctr">
              <a:tabLst>
                <a:tab pos="342265" algn="l"/>
                <a:tab pos="3257550" algn="ctr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</a:tabLst>
            </a:pPr>
            <a:endParaRPr lang="en-US" sz="320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pPr algn="ctr"/>
            <a:r>
              <a:rPr lang="en-US" sz="2400" dirty="0">
                <a:solidFill>
                  <a:prstClr val="black"/>
                </a:solidFill>
                <a:latin typeface="Arial"/>
                <a:ea typeface="MS ????"/>
              </a:rPr>
              <a:t>February 13, 2018—2 PM EDT</a:t>
            </a:r>
            <a:endParaRPr lang="en-US" sz="2400" dirty="0">
              <a:solidFill>
                <a:prstClr val="black"/>
              </a:solidFill>
              <a:latin typeface="Times New Roman"/>
              <a:ea typeface="Times New Roman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862207" y="44301"/>
            <a:ext cx="537679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nsation Service (212)</a:t>
            </a:r>
          </a:p>
        </p:txBody>
      </p:sp>
    </p:spTree>
    <p:extLst>
      <p:ext uri="{BB962C8B-B14F-4D97-AF65-F5344CB8AC3E}">
        <p14:creationId xmlns:p14="http://schemas.microsoft.com/office/powerpoint/2010/main" val="12390665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381000" y="1115842"/>
            <a:ext cx="8229600" cy="3428999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000000"/>
                </a:solidFill>
                <a:latin typeface="Arial"/>
              </a:rPr>
              <a:t>Updates were published to M21-1 III.i.2.D on January 12, 2018 </a:t>
            </a:r>
          </a:p>
          <a:p>
            <a:pPr marL="0" indent="0">
              <a:buNone/>
            </a:pPr>
            <a:endParaRPr lang="en-US" sz="2400" dirty="0">
              <a:solidFill>
                <a:srgbClr val="000000"/>
              </a:solidFill>
              <a:latin typeface="Arial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000000"/>
                </a:solidFill>
                <a:latin typeface="Arial"/>
              </a:rPr>
              <a:t>Please refer to the Key Changes Document (which is found at the bottom of the sections’ webpage)</a:t>
            </a:r>
          </a:p>
          <a:p>
            <a:pPr marL="0" indent="0">
              <a:buNone/>
            </a:pPr>
            <a:endParaRPr lang="en-US" sz="2400" dirty="0">
              <a:solidFill>
                <a:srgbClr val="000000"/>
              </a:solidFill>
              <a:latin typeface="Arial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000000"/>
                </a:solidFill>
                <a:latin typeface="Arial"/>
              </a:rPr>
              <a:t>A summary and explanation of the most significant changes is outlined in the January 2018 IDES Call Notes</a:t>
            </a: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January 12, 2018 M21-1 Changes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7070209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390053" y="1109791"/>
            <a:ext cx="8229600" cy="4452809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200" b="1" dirty="0">
                <a:latin typeface="Arial" panose="020B0604020202020204" pitchFamily="34" charset="0"/>
                <a:cs typeface="Arial" panose="020B0604020202020204" pitchFamily="34" charset="0"/>
              </a:rPr>
              <a:t>Date-stamps 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ust reflect the date the document came into VA possession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 VA Form 21-0819 should be date stamped with the date it was provided by the PEBLO per M21-1 III.i.2.D.3.d (step 1)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 date stamp on the 21-526EZ should reflect the date it was submitted by the claimant per III.i.2.D.4.a (step 10)</a:t>
            </a:r>
          </a:p>
          <a:p>
            <a:pPr marL="0" indent="0">
              <a:buNone/>
            </a:pP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n-US" sz="2200" b="1" dirty="0">
                <a:latin typeface="Arial" panose="020B0604020202020204" pitchFamily="34" charset="0"/>
                <a:cs typeface="Arial" panose="020B0604020202020204" pitchFamily="34" charset="0"/>
              </a:rPr>
              <a:t> Date of Claim 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of the EP 689 should always match the date stamp on the 21-0819 (the date it was provided by the PEBLO), per M21-1 III.i.2.D.3.d (step 2)</a:t>
            </a:r>
          </a:p>
          <a:p>
            <a:pPr marL="0" indent="0">
              <a:buNone/>
            </a:pP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2200" b="1" dirty="0">
                <a:latin typeface="Arial" panose="020B0604020202020204" pitchFamily="34" charset="0"/>
                <a:cs typeface="Arial" panose="020B0604020202020204" pitchFamily="34" charset="0"/>
              </a:rPr>
              <a:t>Prepare Claim Start Date 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n VTA must reflect when the complete referral package was provided by the PEBLO per M21-1 III.i.2.D.3.c (step 6)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1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0" dirty="0">
                <a:latin typeface="Arial" panose="020B0604020202020204" pitchFamily="34" charset="0"/>
                <a:cs typeface="Arial" panose="020B0604020202020204" pitchFamily="34" charset="0"/>
              </a:rPr>
              <a:t>Date Stamps, Date of Claim, and </a:t>
            </a:r>
            <a:br>
              <a:rPr lang="en-US" sz="2800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0" dirty="0">
                <a:latin typeface="Arial" panose="020B0604020202020204" pitchFamily="34" charset="0"/>
                <a:cs typeface="Arial" panose="020B0604020202020204" pitchFamily="34" charset="0"/>
              </a:rPr>
              <a:t>Prepare Claim Start Date</a:t>
            </a:r>
            <a:endParaRPr lang="en-US" sz="2800" b="0" dirty="0"/>
          </a:p>
        </p:txBody>
      </p:sp>
    </p:spTree>
    <p:extLst>
      <p:ext uri="{BB962C8B-B14F-4D97-AF65-F5344CB8AC3E}">
        <p14:creationId xmlns:p14="http://schemas.microsoft.com/office/powerpoint/2010/main" val="27070209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381000" y="1112066"/>
            <a:ext cx="8229600" cy="2438399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SCs Coaches/Supervisors are reminded to keep the MSC SharePoint Site updated with your RO’s IDES information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tact andrew.reese@va.gov for access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f there is a change in the MSC Coach/Supervisor, the new Coach/Supervisor should inform 212D by emailing the DES Mailbox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MSC Coaches/Supervisors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7070209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067800" cy="609600"/>
          </a:xfrm>
        </p:spPr>
        <p:txBody>
          <a:bodyPr/>
          <a:lstStyle/>
          <a:p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Veterans Tracking Application (VTA) Reminders 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1128670"/>
            <a:ext cx="7580280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57200" lvl="0" indent="-339725">
              <a:buFont typeface="Wingdings" panose="05000000000000000000" pitchFamily="2" charset="2"/>
              <a:buChar char="Ø"/>
            </a:pPr>
            <a:r>
              <a:rPr lang="en-US" sz="2600" dirty="0">
                <a:solidFill>
                  <a:srgbClr val="000000"/>
                </a:solidFill>
                <a:latin typeface="Arial"/>
                <a:ea typeface="Times New Roman"/>
              </a:rPr>
              <a:t>VTA Training: February 20 (9ET) and 21 (1ET) </a:t>
            </a:r>
          </a:p>
        </p:txBody>
      </p:sp>
    </p:spTree>
    <p:extLst>
      <p:ext uri="{BB962C8B-B14F-4D97-AF65-F5344CB8AC3E}">
        <p14:creationId xmlns:p14="http://schemas.microsoft.com/office/powerpoint/2010/main" val="5663668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057975" y="76200"/>
            <a:ext cx="7010399" cy="606552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ctr" rtl="0" eaLnBrk="1" latinLnBrk="0" hangingPunct="1">
              <a:spcBef>
                <a:spcPct val="0"/>
              </a:spcBef>
              <a:buNone/>
              <a:defRPr kumimoji="0" sz="3300" kern="1200">
                <a:solidFill>
                  <a:schemeClr val="accent3">
                    <a:shade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xt Call and Open Floor</a:t>
            </a:r>
          </a:p>
        </p:txBody>
      </p:sp>
      <p:sp>
        <p:nvSpPr>
          <p:cNvPr id="6" name="Rectangle 5"/>
          <p:cNvSpPr/>
          <p:nvPr/>
        </p:nvSpPr>
        <p:spPr>
          <a:xfrm>
            <a:off x="299523" y="1119617"/>
            <a:ext cx="7467600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1" indent="-288925">
              <a:buFont typeface="Wingdings" panose="05000000000000000000" pitchFamily="2" charset="2"/>
              <a:buChar char="Ø"/>
            </a:pPr>
            <a:r>
              <a:rPr lang="en-US" sz="2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MS #</a:t>
            </a:r>
            <a:r>
              <a:rPr lang="en-US" sz="2600" dirty="0"/>
              <a:t>:  </a:t>
            </a:r>
            <a:r>
              <a:rPr lang="en-US" sz="2600" dirty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4413877</a:t>
            </a:r>
          </a:p>
          <a:p>
            <a:pPr marL="0" lvl="1"/>
            <a:endParaRPr lang="en-US" sz="2600" dirty="0">
              <a:solidFill>
                <a:srgbClr val="FF0000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pPr marL="342900" indent="-288925">
              <a:buFont typeface="Wingdings" panose="05000000000000000000" pitchFamily="2" charset="2"/>
              <a:buChar char="Ø"/>
            </a:pPr>
            <a:r>
              <a:rPr lang="en-US" sz="2600" dirty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Next Teleconference: March 13, 2018</a:t>
            </a:r>
          </a:p>
          <a:p>
            <a:endParaRPr lang="en-US" sz="2600" dirty="0">
              <a:solidFill>
                <a:srgbClr val="000000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pPr marL="342900" indent="-288925">
              <a:buFont typeface="Wingdings" panose="05000000000000000000" pitchFamily="2" charset="2"/>
              <a:buChar char="Ø"/>
            </a:pPr>
            <a:r>
              <a:rPr lang="en-US" sz="2600" dirty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Open Floor/Questions </a:t>
            </a:r>
          </a:p>
        </p:txBody>
      </p:sp>
    </p:spTree>
    <p:extLst>
      <p:ext uri="{BB962C8B-B14F-4D97-AF65-F5344CB8AC3E}">
        <p14:creationId xmlns:p14="http://schemas.microsoft.com/office/powerpoint/2010/main" val="31315627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476100" y="0"/>
            <a:ext cx="4163573" cy="606552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ctr" rtl="0" eaLnBrk="1" latinLnBrk="0" hangingPunct="1">
              <a:spcBef>
                <a:spcPct val="0"/>
              </a:spcBef>
              <a:buNone/>
              <a:defRPr kumimoji="0" sz="3300" kern="1200">
                <a:solidFill>
                  <a:schemeClr val="accent3">
                    <a:shade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 </a:t>
            </a:r>
          </a:p>
        </p:txBody>
      </p:sp>
      <p:sp>
        <p:nvSpPr>
          <p:cNvPr id="6" name="Rectangle 5"/>
          <p:cNvSpPr/>
          <p:nvPr/>
        </p:nvSpPr>
        <p:spPr>
          <a:xfrm>
            <a:off x="252208" y="685800"/>
            <a:ext cx="8949886" cy="54476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57200" lvl="0" indent="-339725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000000"/>
                </a:solidFill>
                <a:latin typeface="Arial"/>
                <a:ea typeface="Times New Roman"/>
              </a:rPr>
              <a:t>Topics for Discussion</a:t>
            </a:r>
          </a:p>
          <a:p>
            <a:pPr marL="914400" lvl="1" indent="-457200">
              <a:buFont typeface="Wingdings" panose="05000000000000000000" pitchFamily="2" charset="2"/>
              <a:buChar char="§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Benefits Information/Benefits Estimate Letter to Servicemember (SM)</a:t>
            </a:r>
          </a:p>
          <a:p>
            <a:pPr marL="914400" lvl="1" indent="-457200">
              <a:buFont typeface="Wingdings" panose="05000000000000000000" pitchFamily="2" charset="2"/>
              <a:buChar char="§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hanges to IDES Goals</a:t>
            </a:r>
          </a:p>
          <a:p>
            <a:pPr marL="914400" lvl="1" indent="-457200">
              <a:buFont typeface="Wingdings" panose="05000000000000000000" pitchFamily="2" charset="2"/>
              <a:buChar char="§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SC Responsibility for Adding Dependents</a:t>
            </a:r>
          </a:p>
          <a:p>
            <a:pPr marL="914400" lvl="1" indent="-457200">
              <a:buFont typeface="Wingdings" panose="05000000000000000000" pitchFamily="2" charset="2"/>
              <a:buChar char="§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Brokering Claims</a:t>
            </a:r>
          </a:p>
          <a:p>
            <a:pPr marL="914400" lvl="1" indent="-457200">
              <a:buFont typeface="Wingdings" panose="05000000000000000000" pitchFamily="2" charset="2"/>
              <a:buChar char="§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Use of VA Form 21-4138 and VA Form 21-526EZ</a:t>
            </a:r>
          </a:p>
          <a:p>
            <a:pPr marL="914400" lvl="1" indent="-457200">
              <a:buFont typeface="Wingdings" panose="05000000000000000000" pitchFamily="2" charset="2"/>
              <a:buChar char="§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Five-Day Period to Return IDES Application</a:t>
            </a:r>
          </a:p>
          <a:p>
            <a:pPr marL="914400" lvl="1" indent="-457200">
              <a:buFont typeface="Wingdings" panose="05000000000000000000" pitchFamily="2" charset="2"/>
              <a:buChar char="§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Date Stamps, Date of Claim, and Prepare Claim Start Date </a:t>
            </a:r>
          </a:p>
          <a:p>
            <a:pPr marL="914400" lvl="1" indent="-457200">
              <a:buFont typeface="Wingdings" panose="05000000000000000000" pitchFamily="2" charset="2"/>
              <a:buChar char="§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January 12, 2018 M21-1 Changes</a:t>
            </a:r>
          </a:p>
          <a:p>
            <a:pPr marL="914400" lvl="1" indent="-457200">
              <a:buFont typeface="Wingdings" panose="05000000000000000000" pitchFamily="2" charset="2"/>
              <a:buChar char="§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SC Coaches/Supervisors </a:t>
            </a:r>
          </a:p>
          <a:p>
            <a:pPr marL="914400" lvl="1" indent="-457200">
              <a:buFont typeface="Wingdings" panose="05000000000000000000" pitchFamily="2" charset="2"/>
              <a:buChar char="Ø"/>
            </a:pPr>
            <a:endParaRPr lang="en-US" sz="2600" dirty="0">
              <a:solidFill>
                <a:srgbClr val="000000"/>
              </a:solidFill>
              <a:latin typeface="Arial"/>
              <a:ea typeface="Times New Roman"/>
            </a:endParaRPr>
          </a:p>
          <a:p>
            <a:pPr marL="457200" lvl="0" indent="-339725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000000"/>
                </a:solidFill>
                <a:latin typeface="Arial"/>
                <a:ea typeface="Times New Roman"/>
              </a:rPr>
              <a:t>Veterans Tracking Application (VTA) Reminders</a:t>
            </a:r>
          </a:p>
          <a:p>
            <a:pPr marL="914400" lvl="1" indent="-457200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000000"/>
                </a:solidFill>
                <a:latin typeface="Arial"/>
                <a:ea typeface="Times New Roman"/>
              </a:rPr>
              <a:t>VTA Training: February 20 (9ET) and 21 (1ET) </a:t>
            </a:r>
          </a:p>
          <a:p>
            <a:pPr marL="457200" lvl="0" indent="-457200">
              <a:buFont typeface="Wingdings" panose="05000000000000000000" pitchFamily="2" charset="2"/>
              <a:buChar char="Ø"/>
            </a:pPr>
            <a:endParaRPr lang="en-US" sz="2600" dirty="0">
              <a:solidFill>
                <a:srgbClr val="000000"/>
              </a:solidFill>
              <a:latin typeface="Arial"/>
              <a:ea typeface="Times New Roman"/>
            </a:endParaRPr>
          </a:p>
          <a:p>
            <a:pPr marL="457200" lvl="0" indent="-339725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000000"/>
                </a:solidFill>
                <a:latin typeface="Arial"/>
                <a:ea typeface="Times New Roman"/>
              </a:rPr>
              <a:t>Next Call</a:t>
            </a:r>
          </a:p>
          <a:p>
            <a:pPr marL="457200" lvl="0" indent="-339725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000000"/>
                </a:solidFill>
                <a:latin typeface="Arial"/>
                <a:ea typeface="Times New Roman"/>
              </a:rPr>
              <a:t>Open Floor </a:t>
            </a:r>
            <a:endParaRPr lang="en-US" sz="2400" u="sng" dirty="0">
              <a:solidFill>
                <a:srgbClr val="000000"/>
              </a:solidFill>
              <a:latin typeface="Arial"/>
              <a:ea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1582138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nefits Information/Benefits Estimate Letter to Servicemember (SM)</a:t>
            </a:r>
            <a:endParaRPr lang="en-US" sz="2800" b="0" dirty="0"/>
          </a:p>
        </p:txBody>
      </p:sp>
      <p:sp>
        <p:nvSpPr>
          <p:cNvPr id="4" name="Content Placeholder 5"/>
          <p:cNvSpPr>
            <a:spLocks noGrp="1"/>
          </p:cNvSpPr>
          <p:nvPr>
            <p:ph idx="1"/>
          </p:nvPr>
        </p:nvSpPr>
        <p:spPr>
          <a:xfrm>
            <a:off x="384776" y="1132447"/>
            <a:ext cx="8229600" cy="2285999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SCs should not be providing any benefits determined by the DRAS to the SM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This is the responsibility of the PEBLO/PEB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f needed, you can discuss this information with the SM after it is provided by the PEBLO/PEB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07704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386277" y="838201"/>
            <a:ext cx="8229600" cy="3124199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VA and DoD implementing mandate from Deputy Secretary of Defense/Vice Chairman of the Joint Chiefs of Staff  to reduce IDES times 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Reduced from 295 days to 230 days 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The new standard will be effective March 1, 2018, with a target to reach this standard by March 1, 2019 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New goals in each stage of VA responsibility: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Changes to IDES Goals</a:t>
            </a:r>
            <a:endParaRPr lang="en-US" b="0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3236038"/>
              </p:ext>
            </p:extLst>
          </p:nvPr>
        </p:nvGraphicFramePr>
        <p:xfrm>
          <a:off x="914400" y="3962400"/>
          <a:ext cx="7467600" cy="2057400"/>
        </p:xfrm>
        <a:graphic>
          <a:graphicData uri="http://schemas.openxmlformats.org/drawingml/2006/table">
            <a:tbl>
              <a:tblPr firstRow="1" firstCol="1" bandRow="1"/>
              <a:tblGrid>
                <a:gridCol w="28822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787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066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n-US" sz="2000" b="1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</a:rPr>
                        <a:t>Stage </a:t>
                      </a:r>
                      <a:endParaRPr lang="en-US" sz="3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n-US" sz="2000" b="1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</a:rPr>
                        <a:t>Active Duty </a:t>
                      </a:r>
                      <a:endParaRPr lang="en-US" sz="3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n-US" sz="2000" b="1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</a:rPr>
                        <a:t>Non-Active Duty*</a:t>
                      </a:r>
                      <a:endParaRPr lang="en-US" sz="3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</a:rPr>
                        <a:t>Claims Development</a:t>
                      </a:r>
                      <a:endParaRPr lang="en-US" sz="3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</a:rPr>
                        <a:t>5 days</a:t>
                      </a:r>
                      <a:endParaRPr lang="en-US" sz="3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</a:rPr>
                        <a:t>10 days</a:t>
                      </a:r>
                      <a:endParaRPr lang="en-US" sz="3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</a:rPr>
                        <a:t>Medical Evaluation </a:t>
                      </a:r>
                      <a:endParaRPr lang="en-US" sz="3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</a:rPr>
                        <a:t>30 days</a:t>
                      </a:r>
                      <a:endParaRPr lang="en-US" sz="3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</a:rPr>
                        <a:t>30 days</a:t>
                      </a:r>
                      <a:endParaRPr lang="en-US" sz="3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</a:rPr>
                        <a:t>Proposed Rating</a:t>
                      </a:r>
                      <a:endParaRPr lang="en-US" sz="3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</a:rPr>
                        <a:t>22 days</a:t>
                      </a:r>
                      <a:endParaRPr lang="en-US" sz="3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</a:rPr>
                        <a:t>22 days  </a:t>
                      </a:r>
                      <a:endParaRPr lang="en-US" sz="3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</a:rPr>
                        <a:t>Rating Reconsideration </a:t>
                      </a:r>
                      <a:endParaRPr lang="en-US" sz="3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</a:rPr>
                        <a:t>5 days</a:t>
                      </a:r>
                      <a:endParaRPr lang="en-US" sz="3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</a:rPr>
                        <a:t>5 days </a:t>
                      </a:r>
                      <a:endParaRPr lang="en-US" sz="3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</a:rPr>
                        <a:t>VA Benefits</a:t>
                      </a:r>
                      <a:endParaRPr lang="en-US" sz="3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</a:rPr>
                        <a:t>20 days </a:t>
                      </a:r>
                      <a:endParaRPr lang="en-US" sz="3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0" algn="l"/>
                        </a:tabLst>
                      </a:pPr>
                      <a:r>
                        <a:rPr lang="en-US" sz="20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</a:rPr>
                        <a:t>N/A** </a:t>
                      </a:r>
                      <a:endParaRPr lang="en-US" sz="3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07704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381000" y="838201"/>
            <a:ext cx="8229600" cy="5287964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laimants must submit a VA Form 21-686c (or other appropriate prescribed form) to add dependents to their award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VA Forms 27-0820 or 21-4138 cannot be used to add dependents</a:t>
            </a:r>
          </a:p>
          <a:p>
            <a:pPr marL="457200" lvl="1" indent="0">
              <a:buNone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SCs should review the VA Form 21-686c to ensure completion, and take action to obtain any missing information.</a:t>
            </a:r>
          </a:p>
          <a:p>
            <a:pPr marL="0" indent="0">
              <a:buNone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pendents must be entered as a contention under EP 689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Dependency claim for [name of spouse], and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Dependency claim for [name of child] </a:t>
            </a:r>
          </a:p>
          <a:p>
            <a:pPr marL="457200" lvl="1" indent="0">
              <a:buNone/>
            </a:pPr>
            <a:endParaRPr lang="en-US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1" indent="-342900"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SCs should only update the claimant’s corporate record if a dependency claim is received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MSC Responsibility for Adding Dependents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2169480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381000" y="1124896"/>
            <a:ext cx="8229600" cy="1219199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SCs are reminded that EP 689 must be brokered to the appropriate DRAS when all development is complet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From a work queue table view: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Brokering Claims (1 of 2)</a:t>
            </a:r>
            <a:endParaRPr lang="en-US" b="0" dirty="0"/>
          </a:p>
        </p:txBody>
      </p:sp>
      <p:pic>
        <p:nvPicPr>
          <p:cNvPr id="5570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94" y="2448869"/>
            <a:ext cx="9026191" cy="263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70209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81000" y="1121119"/>
            <a:ext cx="8229600" cy="609599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he Broker Work Items dialog: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Brokering Claims (2 of 2)</a:t>
            </a:r>
            <a:endParaRPr lang="en-US" dirty="0"/>
          </a:p>
        </p:txBody>
      </p:sp>
      <p:pic>
        <p:nvPicPr>
          <p:cNvPr id="5591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518" y="2124074"/>
            <a:ext cx="8889189" cy="267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43521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390053" y="838201"/>
            <a:ext cx="8229600" cy="5287964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VA Form 21-4138 may be used to continue the 21-526EZ when additional space is needed to list claimed conditions but   the 21-4138 must be submitted along with the 21-526EZ;  both forms should bare the same date stamp</a:t>
            </a:r>
            <a:r>
              <a:rPr lang="en-US" sz="2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2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To claim new issues after the VA Form 21-526EZ was initially submitted, the participant must complete to submit a new VA Form 21-526EZ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Participants should return the 21-526EZ during the interview; it should not be provided by the PEBLO with the referral 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A 4138 should only be used to continue a 21-526EZ when additional space is needed 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Use of VA Form 21-4138 and VA Form 21-526EZ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7070209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384776" y="1112836"/>
            <a:ext cx="8229600" cy="4449764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S participants may elect to take up to five days from the initial interview to sign and return IDES applications 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However, once the 21-526EZ is signed and returned, the participant can no longer add issues to the IDES claim/application 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f the participant would like to claim additional issues, at any point after the 21-526EZ was returned to the MSC, the participant must submit a new application 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New conditions cannot be added to a previously submitted 21-526EZ—even if those issues are raised within five days of the initial interview</a:t>
            </a:r>
          </a:p>
          <a:p>
            <a:pPr marL="0" indent="0">
              <a:buNone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Five-Day Period to Return IDES Application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7070209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3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1.xml><?xml version="1.0" encoding="utf-8"?>
<a:theme xmlns:a="http://schemas.openxmlformats.org/drawingml/2006/main" name="4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2.xml><?xml version="1.0" encoding="utf-8"?>
<a:theme xmlns:a="http://schemas.openxmlformats.org/drawingml/2006/main" name="5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3.xml><?xml version="1.0" encoding="utf-8"?>
<a:theme xmlns:a="http://schemas.openxmlformats.org/drawingml/2006/main" name="6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4.xml><?xml version="1.0" encoding="utf-8"?>
<a:theme xmlns:a="http://schemas.openxmlformats.org/drawingml/2006/main" name="7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5.xml><?xml version="1.0" encoding="utf-8"?>
<a:theme xmlns:a="http://schemas.openxmlformats.org/drawingml/2006/main" name="5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9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10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12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36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MyVA Theme">
  <a:themeElements>
    <a:clrScheme name="MyVA Lean Colors">
      <a:dk1>
        <a:sysClr val="windowText" lastClr="000000"/>
      </a:dk1>
      <a:lt1>
        <a:sysClr val="window" lastClr="FFFFFF"/>
      </a:lt1>
      <a:dk2>
        <a:srgbClr val="00416A"/>
      </a:dk2>
      <a:lt2>
        <a:srgbClr val="DFDFDF"/>
      </a:lt2>
      <a:accent1>
        <a:srgbClr val="004170"/>
      </a:accent1>
      <a:accent2>
        <a:srgbClr val="0093C9"/>
      </a:accent2>
      <a:accent3>
        <a:srgbClr val="F7A800"/>
      </a:accent3>
      <a:accent4>
        <a:srgbClr val="BDBBBB"/>
      </a:accent4>
      <a:accent5>
        <a:srgbClr val="00416A"/>
      </a:accent5>
      <a:accent6>
        <a:srgbClr val="0093C9"/>
      </a:accent6>
      <a:hlink>
        <a:srgbClr val="F7A800"/>
      </a:hlink>
      <a:folHlink>
        <a:srgbClr val="00416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39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1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OM Standard Slid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37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4.xml><?xml version="1.0" encoding="utf-8"?>
<a:theme xmlns:a="http://schemas.openxmlformats.org/drawingml/2006/main" name="42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5.xml><?xml version="1.0" encoding="utf-8"?>
<a:theme xmlns:a="http://schemas.openxmlformats.org/drawingml/2006/main" name="4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6.xml><?xml version="1.0" encoding="utf-8"?>
<a:theme xmlns:a="http://schemas.openxmlformats.org/drawingml/2006/main" name="4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Default Theme">
  <a:themeElements>
    <a:clrScheme name="FMTS">
      <a:dk1>
        <a:sysClr val="windowText" lastClr="000000"/>
      </a:dk1>
      <a:lt1>
        <a:sysClr val="window" lastClr="FFFFFF"/>
      </a:lt1>
      <a:dk2>
        <a:srgbClr val="2B3990"/>
      </a:dk2>
      <a:lt2>
        <a:srgbClr val="E7E6E6"/>
      </a:lt2>
      <a:accent1>
        <a:srgbClr val="52853F"/>
      </a:accent1>
      <a:accent2>
        <a:srgbClr val="F7955B"/>
      </a:accent2>
      <a:accent3>
        <a:srgbClr val="859097"/>
      </a:accent3>
      <a:accent4>
        <a:srgbClr val="F3CF45"/>
      </a:accent4>
      <a:accent5>
        <a:srgbClr val="772432"/>
      </a:accent5>
      <a:accent6>
        <a:srgbClr val="C2B48F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fault Theme" id="{27A37B24-EF00-4490-8F23-301C48D178D4}" vid="{431D7A15-CD5F-49C3-A8D1-457E3B0C78CC}"/>
    </a:ext>
  </a:extLst>
</a:theme>
</file>

<file path=ppt/theme/theme4.xml><?xml version="1.0" encoding="utf-8"?>
<a:theme xmlns:a="http://schemas.openxmlformats.org/drawingml/2006/main" name="6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8_Office Theme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8.xml><?xml version="1.0" encoding="utf-8"?>
<a:theme xmlns:a="http://schemas.openxmlformats.org/drawingml/2006/main" name="1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9.xml><?xml version="1.0" encoding="utf-8"?>
<a:theme xmlns:a="http://schemas.openxmlformats.org/drawingml/2006/main" name="2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5135822C7E9A4FBBC0FB0034D17B0A" ma:contentTypeVersion="0" ma:contentTypeDescription="Create a new document." ma:contentTypeScope="" ma:versionID="fb16c13aa178fec9a33e1bc6140d72f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5BABBC1-510B-498E-8648-BB5C1F939242}">
  <ds:schemaRefs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D932419-1077-4BA7-92CE-E9F222FADF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B54EB79-0DCF-40E4-877B-24A99FE1C62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044</TotalTime>
  <Words>955</Words>
  <Application>Microsoft Office PowerPoint</Application>
  <PresentationFormat>On-screen Show (4:3)</PresentationFormat>
  <Paragraphs>123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47" baseType="lpstr">
      <vt:lpstr>Arial</vt:lpstr>
      <vt:lpstr>Calibri</vt:lpstr>
      <vt:lpstr>Courier New</vt:lpstr>
      <vt:lpstr>MS ????</vt:lpstr>
      <vt:lpstr>Times New Roman</vt:lpstr>
      <vt:lpstr>Wingdings</vt:lpstr>
      <vt:lpstr>3_Office Theme</vt:lpstr>
      <vt:lpstr>MyVA Theme</vt:lpstr>
      <vt:lpstr>1_Default Theme</vt:lpstr>
      <vt:lpstr>6_Office Theme</vt:lpstr>
      <vt:lpstr>4_Office Theme</vt:lpstr>
      <vt:lpstr>8_Office Theme</vt:lpstr>
      <vt:lpstr>MyVA</vt:lpstr>
      <vt:lpstr>1_MyVA</vt:lpstr>
      <vt:lpstr>2_MyVA</vt:lpstr>
      <vt:lpstr>3_MyVA</vt:lpstr>
      <vt:lpstr>4_MyVA</vt:lpstr>
      <vt:lpstr>5_MyVA</vt:lpstr>
      <vt:lpstr>6_MyVA</vt:lpstr>
      <vt:lpstr>7_MyVA</vt:lpstr>
      <vt:lpstr>5_Office Theme</vt:lpstr>
      <vt:lpstr>9_Office Theme</vt:lpstr>
      <vt:lpstr>10_Office Theme</vt:lpstr>
      <vt:lpstr>12_Office Theme</vt:lpstr>
      <vt:lpstr>36_Office Theme</vt:lpstr>
      <vt:lpstr>39_Office Theme</vt:lpstr>
      <vt:lpstr>14_Office Theme</vt:lpstr>
      <vt:lpstr>OM Standard Slides</vt:lpstr>
      <vt:lpstr>37_Office Theme</vt:lpstr>
      <vt:lpstr>42_Office Theme</vt:lpstr>
      <vt:lpstr>43_Office Theme</vt:lpstr>
      <vt:lpstr>44_Office Theme</vt:lpstr>
      <vt:lpstr>think-cell Slide</vt:lpstr>
      <vt:lpstr>PowerPoint Presentation</vt:lpstr>
      <vt:lpstr>PowerPoint Presentation</vt:lpstr>
      <vt:lpstr>Benefits Information/Benefits Estimate Letter to Servicemember (SM)</vt:lpstr>
      <vt:lpstr>Changes to IDES Goals</vt:lpstr>
      <vt:lpstr>MSC Responsibility for Adding Dependents</vt:lpstr>
      <vt:lpstr>Brokering Claims (1 of 2)</vt:lpstr>
      <vt:lpstr>Brokering Claims (2 of 2)</vt:lpstr>
      <vt:lpstr>Use of VA Form 21-4138 and VA Form 21-526EZ</vt:lpstr>
      <vt:lpstr>Five-Day Period to Return IDES Application</vt:lpstr>
      <vt:lpstr>January 12, 2018 M21-1 Changes</vt:lpstr>
      <vt:lpstr>Date Stamps, Date of Claim, and  Prepare Claim Start Date</vt:lpstr>
      <vt:lpstr>MSC Coaches/Supervisors</vt:lpstr>
      <vt:lpstr>Veterans Tracking Application (VTA) Reminders </vt:lpstr>
      <vt:lpstr>PowerPoint Presentation</vt:lpstr>
    </vt:vector>
  </TitlesOfParts>
  <Company>Veterans Benefits Administ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ebruary 2018 IDES Teleconference PowerPoint Presentation</dc:title>
  <dc:subject>Pre-Discharge (MSC)</dc:subject>
  <dc:creator>Department of Veterans Affairs, Veterans Benefits Administration, Compensation Service, STAFF</dc:creator>
  <dc:description>The Compensation Service VBA/DoD Collaboration Team hosts this monthly teleconference to provide training, announce updates and address issues and questions related to the Integrated Disability Evaluation System (IDES) Program.</dc:description>
  <cp:lastModifiedBy>Kathy Poole</cp:lastModifiedBy>
  <cp:revision>826</cp:revision>
  <cp:lastPrinted>2017-06-05T12:03:36Z</cp:lastPrinted>
  <dcterms:created xsi:type="dcterms:W3CDTF">2016-05-04T17:57:56Z</dcterms:created>
  <dcterms:modified xsi:type="dcterms:W3CDTF">2018-04-02T16:57:21Z</dcterms:modified>
  <cp:category>NTC Curriculum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5135822C7E9A4FBBC0FB0034D17B0A</vt:lpwstr>
  </property>
  <property fmtid="{D5CDD505-2E9C-101B-9397-08002B2CF9AE}" pid="3" name="Language">
    <vt:lpwstr>en</vt:lpwstr>
  </property>
  <property fmtid="{D5CDD505-2E9C-101B-9397-08002B2CF9AE}" pid="4" name="Type">
    <vt:lpwstr>Presentation</vt:lpwstr>
  </property>
</Properties>
</file>